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62" autoAdjust="0"/>
    <p:restoredTop sz="96751" autoAdjust="0"/>
  </p:normalViewPr>
  <p:slideViewPr>
    <p:cSldViewPr snapToGrid="0" snapToObjects="1">
      <p:cViewPr varScale="1">
        <p:scale>
          <a:sx n="174" d="100"/>
          <a:sy n="174" d="100"/>
        </p:scale>
        <p:origin x="978" y="144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5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5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5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5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5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.xml"/><Relationship Id="rId7" Type="http://schemas.openxmlformats.org/officeDocument/2006/relationships/image" Target="../media/image10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heme" Target="../theme/theme7.xml"/><Relationship Id="rId6" Type="http://schemas.openxmlformats.org/officeDocument/2006/relationships/image" Target="../media/image1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1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" Target="../theme/theme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62FA0B85-488D-4AE4-862F-D64B51F1802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270" imgH="270" progId="TCLayout.ActiveDocument.1">
                  <p:embed/>
                </p:oleObj>
              </mc:Choice>
              <mc:Fallback>
                <p:oleObj name="Diapositiva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9BA6DC0-A791-4D09-8A83-9C21E33E28A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7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A85F65EE-61EA-4DBF-83E0-BF0ADD626D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A6980AB4-ECF4-48D4-88C2-C06EAD44374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B8E84D0A-0DF2-4492-953F-C944F7C598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EF1716FB-0984-41E0-ABE5-1412DA28DF3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70F06448-8C35-431F-878F-42CCA4A1FB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5/10/2025</a:t>
            </a:fld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2821" y="3590422"/>
            <a:ext cx="1351193" cy="320675"/>
          </a:xfrm>
        </p:spPr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391886"/>
            <a:ext cx="97971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chemeClr val="bg2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0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hele Fosco</cp:lastModifiedBy>
  <cp:revision>519</cp:revision>
  <cp:lastPrinted>2017-08-08T07:27:09Z</cp:lastPrinted>
  <dcterms:created xsi:type="dcterms:W3CDTF">2015-06-10T12:48:40Z</dcterms:created>
  <dcterms:modified xsi:type="dcterms:W3CDTF">2025-10-25T13:42:50Z</dcterms:modified>
</cp:coreProperties>
</file>